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8" r:id="rId4"/>
    <p:sldMasterId id="2147483868" r:id="rId5"/>
    <p:sldMasterId id="2147483898" r:id="rId6"/>
    <p:sldMasterId id="2147483910" r:id="rId7"/>
  </p:sldMasterIdLst>
  <p:notesMasterIdLst>
    <p:notesMasterId r:id="rId18"/>
  </p:notesMasterIdLst>
  <p:handoutMasterIdLst>
    <p:handoutMasterId r:id="rId19"/>
  </p:handoutMasterIdLst>
  <p:sldIdLst>
    <p:sldId id="667" r:id="rId8"/>
    <p:sldId id="668" r:id="rId9"/>
    <p:sldId id="669" r:id="rId10"/>
    <p:sldId id="670" r:id="rId11"/>
    <p:sldId id="1220" r:id="rId12"/>
    <p:sldId id="437" r:id="rId13"/>
    <p:sldId id="438" r:id="rId14"/>
    <p:sldId id="441" r:id="rId15"/>
    <p:sldId id="676" r:id="rId16"/>
    <p:sldId id="471" r:id="rId17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0B3CDA-6E79-42B4-994C-82C2BCAD96C7}" v="1" dt="2022-03-29T15:57:43.2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92" d="100"/>
          <a:sy n="92" d="100"/>
        </p:scale>
        <p:origin x="1752" y="90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mo, Claudio" userId="ef76c6e2-d490-4122-930c-77cb3a333acb" providerId="ADAL" clId="{430B3CDA-6E79-42B4-994C-82C2BCAD96C7}"/>
    <pc:docChg chg="undo modSld">
      <pc:chgData name="Pomo, Claudio" userId="ef76c6e2-d490-4122-930c-77cb3a333acb" providerId="ADAL" clId="{430B3CDA-6E79-42B4-994C-82C2BCAD96C7}" dt="2022-03-29T16:09:30.597" v="3" actId="6549"/>
      <pc:docMkLst>
        <pc:docMk/>
      </pc:docMkLst>
      <pc:sldChg chg="addSp modSp">
        <pc:chgData name="Pomo, Claudio" userId="ef76c6e2-d490-4122-930c-77cb3a333acb" providerId="ADAL" clId="{430B3CDA-6E79-42B4-994C-82C2BCAD96C7}" dt="2022-03-29T15:57:43.283" v="2" actId="164"/>
        <pc:sldMkLst>
          <pc:docMk/>
          <pc:sldMk cId="2803675645" sldId="437"/>
        </pc:sldMkLst>
        <pc:spChg chg="mod">
          <ac:chgData name="Pomo, Claudio" userId="ef76c6e2-d490-4122-930c-77cb3a333acb" providerId="ADAL" clId="{430B3CDA-6E79-42B4-994C-82C2BCAD96C7}" dt="2022-03-29T15:57:43.283" v="2" actId="164"/>
          <ac:spMkLst>
            <pc:docMk/>
            <pc:sldMk cId="2803675645" sldId="437"/>
            <ac:spMk id="12" creationId="{5A0EDC78-87F0-4DF4-87F7-860E17A304FB}"/>
          </ac:spMkLst>
        </pc:spChg>
        <pc:grpChg chg="add mod">
          <ac:chgData name="Pomo, Claudio" userId="ef76c6e2-d490-4122-930c-77cb3a333acb" providerId="ADAL" clId="{430B3CDA-6E79-42B4-994C-82C2BCAD96C7}" dt="2022-03-29T15:57:43.283" v="2" actId="164"/>
          <ac:grpSpMkLst>
            <pc:docMk/>
            <pc:sldMk cId="2803675645" sldId="437"/>
            <ac:grpSpMk id="4" creationId="{E9224199-3996-42BE-9634-08A46800D2F3}"/>
          </ac:grpSpMkLst>
        </pc:grpChg>
        <pc:picChg chg="mod">
          <ac:chgData name="Pomo, Claudio" userId="ef76c6e2-d490-4122-930c-77cb3a333acb" providerId="ADAL" clId="{430B3CDA-6E79-42B4-994C-82C2BCAD96C7}" dt="2022-03-29T15:57:43.283" v="2" actId="164"/>
          <ac:picMkLst>
            <pc:docMk/>
            <pc:sldMk cId="2803675645" sldId="437"/>
            <ac:picMk id="3" creationId="{34265A37-40FC-425E-BF6B-AF6EA5A7149A}"/>
          </ac:picMkLst>
        </pc:picChg>
        <pc:picChg chg="mod">
          <ac:chgData name="Pomo, Claudio" userId="ef76c6e2-d490-4122-930c-77cb3a333acb" providerId="ADAL" clId="{430B3CDA-6E79-42B4-994C-82C2BCAD96C7}" dt="2022-03-29T15:57:43.283" v="2" actId="164"/>
          <ac:picMkLst>
            <pc:docMk/>
            <pc:sldMk cId="2803675645" sldId="437"/>
            <ac:picMk id="6" creationId="{F8749173-6850-461C-BA86-136A5A5A2EDF}"/>
          </ac:picMkLst>
        </pc:picChg>
      </pc:sldChg>
      <pc:sldChg chg="modSp">
        <pc:chgData name="Pomo, Claudio" userId="ef76c6e2-d490-4122-930c-77cb3a333acb" providerId="ADAL" clId="{430B3CDA-6E79-42B4-994C-82C2BCAD96C7}" dt="2022-03-29T16:09:30.597" v="3" actId="6549"/>
        <pc:sldMkLst>
          <pc:docMk/>
          <pc:sldMk cId="1484322854" sldId="1220"/>
        </pc:sldMkLst>
        <pc:spChg chg="mod">
          <ac:chgData name="Pomo, Claudio" userId="ef76c6e2-d490-4122-930c-77cb3a333acb" providerId="ADAL" clId="{430B3CDA-6E79-42B4-994C-82C2BCAD96C7}" dt="2022-03-29T16:09:30.597" v="3" actId="6549"/>
          <ac:spMkLst>
            <pc:docMk/>
            <pc:sldMk cId="1484322854" sldId="1220"/>
            <ac:spMk id="3" creationId="{577C083B-820F-4427-A9C0-FE82216251E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>
            <a:extLst>
              <a:ext uri="{FF2B5EF4-FFF2-40B4-BE49-F238E27FC236}">
                <a16:creationId xmlns:a16="http://schemas.microsoft.com/office/drawing/2014/main" id="{B4565404-D361-44A7-9B69-8941A562BA8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7138" y="842963"/>
            <a:ext cx="4403725" cy="3114675"/>
          </a:xfrm>
          <a:ln/>
        </p:spPr>
      </p:sp>
      <p:sp>
        <p:nvSpPr>
          <p:cNvPr id="43011" name="Notes Placeholder 2">
            <a:extLst>
              <a:ext uri="{FF2B5EF4-FFF2-40B4-BE49-F238E27FC236}">
                <a16:creationId xmlns:a16="http://schemas.microsoft.com/office/drawing/2014/main" id="{0BC8A63C-1727-4D60-97AF-5F954D9347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fr-FR"/>
          </a:p>
        </p:txBody>
      </p:sp>
      <p:sp>
        <p:nvSpPr>
          <p:cNvPr id="43012" name="Slide Number Placeholder 3">
            <a:extLst>
              <a:ext uri="{FF2B5EF4-FFF2-40B4-BE49-F238E27FC236}">
                <a16:creationId xmlns:a16="http://schemas.microsoft.com/office/drawing/2014/main" id="{97762CB4-CD0D-43F6-9279-838D90CE92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0E914-62C3-40D4-8C33-441E3EA412AB}" type="slidenum">
              <a:rPr kumimoji="0" lang="en-GB" alt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90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757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5.jpg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8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8.jpeg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jpeg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97670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50531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768589" y="7223059"/>
            <a:ext cx="1043555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7289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438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49" y="2764944"/>
            <a:ext cx="9347443" cy="1357351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20353" y="6980578"/>
            <a:ext cx="2703634" cy="54609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0977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4351625" y="2322639"/>
            <a:ext cx="6065166" cy="2368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4351625" y="5013784"/>
            <a:ext cx="6065166" cy="169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82"/>
              </a:spcBef>
            </a:pP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985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84058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4232805" y="2322639"/>
            <a:ext cx="6065166" cy="2368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4232805" y="5013784"/>
            <a:ext cx="6065166" cy="169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82"/>
              </a:spcBef>
            </a:pP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985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72528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768589" y="7223059"/>
            <a:ext cx="1043555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4232805" y="2322639"/>
            <a:ext cx="6065166" cy="2520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4232805" y="5013784"/>
            <a:ext cx="6065166" cy="169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82"/>
              </a:spcBef>
            </a:pP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985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9914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38220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578783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1493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CDBACF1-0281-4D00-A96C-E12864F141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0693400" cy="7561263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8A0F8AE3-5A0D-4C0F-89D4-A780F6E04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Rectangle 12">
              <a:extLst>
                <a:ext uri="{FF2B5EF4-FFF2-40B4-BE49-F238E27FC236}">
                  <a16:creationId xmlns:a16="http://schemas.microsoft.com/office/drawing/2014/main" id="{CF357387-D36E-4476-B0F7-0599BB819A5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103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5F6F2F29-DBA8-4690-8F38-025D32767D5D}"/>
              </a:ext>
            </a:extLst>
          </p:cNvPr>
          <p:cNvSpPr>
            <a:spLocks/>
          </p:cNvSpPr>
          <p:nvPr userDrawn="1"/>
        </p:nvSpPr>
        <p:spPr bwMode="gray">
          <a:xfrm>
            <a:off x="761163" y="7042988"/>
            <a:ext cx="3978653" cy="2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882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de-CH" altLang="fr-FR" sz="882">
                <a:solidFill>
                  <a:srgbClr val="FFFFFF"/>
                </a:solidFill>
              </a:rPr>
            </a:br>
            <a:r>
              <a:rPr lang="de-CH" altLang="fr-FR" sz="882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>
            <a:extLst>
              <a:ext uri="{FF2B5EF4-FFF2-40B4-BE49-F238E27FC236}">
                <a16:creationId xmlns:a16="http://schemas.microsoft.com/office/drawing/2014/main" id="{1E2A8744-36CF-4736-A285-D108B9A779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459" y="6595102"/>
            <a:ext cx="1295832" cy="978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>
            <a:extLst>
              <a:ext uri="{FF2B5EF4-FFF2-40B4-BE49-F238E27FC236}">
                <a16:creationId xmlns:a16="http://schemas.microsoft.com/office/drawing/2014/main" id="{B3997B87-1A49-4E07-8252-C5F6DBEC6D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21" hidden="1">
                        <a:extLst>
                          <a:ext uri="{FF2B5EF4-FFF2-40B4-BE49-F238E27FC236}">
                            <a16:creationId xmlns:a16="http://schemas.microsoft.com/office/drawing/2014/main" id="{B3997B87-1A49-4E07-8252-C5F6DBEC6D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61163" y="2565929"/>
            <a:ext cx="6271234" cy="191657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993530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3614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49" y="2764944"/>
            <a:ext cx="9347443" cy="135735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30614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4232805" y="2322639"/>
            <a:ext cx="6065166" cy="2368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82"/>
              </a:spcBef>
            </a:pP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92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4232805" y="5013784"/>
            <a:ext cx="6065166" cy="169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82"/>
              </a:spcBef>
            </a:pP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92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10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985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5957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7800" y="369133"/>
            <a:ext cx="9346200" cy="509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45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10693400" cy="7561263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103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103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459" y="6595102"/>
            <a:ext cx="1295832" cy="97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49" y="848893"/>
            <a:ext cx="9341873" cy="67864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7676888" y="7140398"/>
            <a:ext cx="1025922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103" b="1" dirty="0">
                <a:solidFill>
                  <a:srgbClr val="FFFFFF"/>
                </a:solidFill>
              </a:rPr>
              <a:t>www.sidel.com</a:t>
            </a:r>
            <a:endParaRPr lang="fr-FR" sz="1103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761163" y="7179012"/>
            <a:ext cx="8402941" cy="135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82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253095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54634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57450" y="1638274"/>
            <a:ext cx="9353012" cy="5250877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48358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10319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339338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72010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>
            <a:extLst>
              <a:ext uri="{FF2B5EF4-FFF2-40B4-BE49-F238E27FC236}">
                <a16:creationId xmlns:a16="http://schemas.microsoft.com/office/drawing/2014/main" id="{0A3088A7-1E6D-497A-AA79-4BAC7996D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2" hidden="1">
                        <a:extLst>
                          <a:ext uri="{FF2B5EF4-FFF2-40B4-BE49-F238E27FC236}">
                            <a16:creationId xmlns:a16="http://schemas.microsoft.com/office/drawing/2014/main" id="{0A3088A7-1E6D-497A-AA79-4BAC7996D4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>
            <a:extLst>
              <a:ext uri="{FF2B5EF4-FFF2-40B4-BE49-F238E27FC236}">
                <a16:creationId xmlns:a16="http://schemas.microsoft.com/office/drawing/2014/main" id="{F63808CD-C883-44A7-AE6F-3CEB117517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7036176"/>
            <a:ext cx="10357375" cy="2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>
            <a:extLst>
              <a:ext uri="{FF2B5EF4-FFF2-40B4-BE49-F238E27FC236}">
                <a16:creationId xmlns:a16="http://schemas.microsoft.com/office/drawing/2014/main" id="{3E46F68B-69D4-4B47-99E0-D84BCC7A78E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094960" y="7195453"/>
            <a:ext cx="1009932" cy="260793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76AEB3CA-C3D0-428F-B5E5-9706007EA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2E9DF8B-BFF6-49EC-A86B-37B43BD4B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8C9EA9E-446D-4D86-A623-44C1E3E09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3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61163" y="2565929"/>
            <a:ext cx="6271234" cy="191657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274217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9">
            <a:extLst>
              <a:ext uri="{FF2B5EF4-FFF2-40B4-BE49-F238E27FC236}">
                <a16:creationId xmlns:a16="http://schemas.microsoft.com/office/drawing/2014/main" id="{97D711C8-A1AB-453A-8B90-121B0E28CB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9" descr="Sidel_BM_no_bleed">
            <a:extLst>
              <a:ext uri="{FF2B5EF4-FFF2-40B4-BE49-F238E27FC236}">
                <a16:creationId xmlns:a16="http://schemas.microsoft.com/office/drawing/2014/main" id="{C3700CFC-DBEE-4E0E-829E-AE17369C74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459" y="6595102"/>
            <a:ext cx="1295832" cy="978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8" hidden="1">
            <a:extLst>
              <a:ext uri="{FF2B5EF4-FFF2-40B4-BE49-F238E27FC236}">
                <a16:creationId xmlns:a16="http://schemas.microsoft.com/office/drawing/2014/main" id="{211D859A-A2C6-48B8-92DA-D3C766B18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18" hidden="1">
                        <a:extLst>
                          <a:ext uri="{FF2B5EF4-FFF2-40B4-BE49-F238E27FC236}">
                            <a16:creationId xmlns:a16="http://schemas.microsoft.com/office/drawing/2014/main" id="{211D859A-A2C6-48B8-92DA-D3C766B180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3B593057-2CD3-4F40-9645-CDCF64CB409A}"/>
              </a:ext>
            </a:extLst>
          </p:cNvPr>
          <p:cNvSpPr>
            <a:spLocks/>
          </p:cNvSpPr>
          <p:nvPr userDrawn="1"/>
        </p:nvSpPr>
        <p:spPr bwMode="gray">
          <a:xfrm>
            <a:off x="761163" y="7042988"/>
            <a:ext cx="3834383" cy="2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882">
                <a:solidFill>
                  <a:srgbClr val="FFFFFF"/>
                </a:solidFill>
              </a:rPr>
              <a:t>All rights reserved. No part of this publication may be reproduced or </a:t>
            </a:r>
          </a:p>
          <a:p>
            <a:pPr>
              <a:buSzPct val="100000"/>
              <a:defRPr/>
            </a:pPr>
            <a:r>
              <a:rPr lang="de-CH" altLang="fr-FR" sz="882">
                <a:solidFill>
                  <a:srgbClr val="FFFFFF"/>
                </a:solidFill>
              </a:rPr>
              <a:t>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1461299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9">
            <a:extLst>
              <a:ext uri="{FF2B5EF4-FFF2-40B4-BE49-F238E27FC236}">
                <a16:creationId xmlns:a16="http://schemas.microsoft.com/office/drawing/2014/main" id="{AFBF6097-27EA-4B42-AC67-010AA65DA0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9" descr="Sidel_BM_no_bleed">
            <a:extLst>
              <a:ext uri="{FF2B5EF4-FFF2-40B4-BE49-F238E27FC236}">
                <a16:creationId xmlns:a16="http://schemas.microsoft.com/office/drawing/2014/main" id="{91C7BCF5-76AA-4DBA-A2D8-1BDE890876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459" y="6595102"/>
            <a:ext cx="1295832" cy="978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8" hidden="1">
            <a:extLst>
              <a:ext uri="{FF2B5EF4-FFF2-40B4-BE49-F238E27FC236}">
                <a16:creationId xmlns:a16="http://schemas.microsoft.com/office/drawing/2014/main" id="{814814D3-8B79-4D8B-A830-09F87FE96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18" hidden="1">
                        <a:extLst>
                          <a:ext uri="{FF2B5EF4-FFF2-40B4-BE49-F238E27FC236}">
                            <a16:creationId xmlns:a16="http://schemas.microsoft.com/office/drawing/2014/main" id="{814814D3-8B79-4D8B-A830-09F87FE9673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1C880672-C116-474B-97EB-DD413F76B81F}"/>
              </a:ext>
            </a:extLst>
          </p:cNvPr>
          <p:cNvSpPr>
            <a:spLocks/>
          </p:cNvSpPr>
          <p:nvPr userDrawn="1"/>
        </p:nvSpPr>
        <p:spPr bwMode="gray">
          <a:xfrm>
            <a:off x="761162" y="7076844"/>
            <a:ext cx="3334246" cy="237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772" b="1">
                <a:solidFill>
                  <a:srgbClr val="FFFFFF"/>
                </a:solidFill>
              </a:rPr>
              <a:t>All rights reserved. No part of this publication may be reproduced or </a:t>
            </a:r>
          </a:p>
          <a:p>
            <a:pPr>
              <a:buSzPct val="100000"/>
              <a:defRPr/>
            </a:pPr>
            <a:r>
              <a:rPr lang="de-CH" altLang="fr-FR" sz="772" b="1">
                <a:solidFill>
                  <a:srgbClr val="FFFFFF"/>
                </a:solidFill>
              </a:rPr>
              <a:t>electronically distributed without the prior permission of the publisher.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848893"/>
            <a:ext cx="9341873" cy="1717036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41291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693399" cy="7561263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4665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5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7873E190-40CF-412D-9604-1EFCEB1508B2}" type="slidenum">
              <a:rPr kumimoji="0" lang="en-GB" sz="992" b="1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92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2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le, </a:t>
            </a:r>
            <a:fld id="{AF6A7A01-F0BB-4441-BAB9-3E7CB064C4A1}" type="datetime4">
              <a:rPr kumimoji="0" lang="en-GB" sz="992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March 2022</a:t>
            </a:fld>
            <a:r>
              <a:rPr kumimoji="0" lang="en-GB" sz="992" b="0" i="0" u="none" strike="noStrike" kern="1200" cap="none" spc="0" normalizeH="0" baseline="0" noProof="0" dirty="0">
                <a:ln>
                  <a:noFill/>
                </a:ln>
                <a:solidFill>
                  <a:srgbClr val="0033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992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 / Internal / Restricted / Highly confidential]</a:t>
            </a:r>
            <a:endParaRPr kumimoji="0" lang="en-GB" sz="992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265" y="7144472"/>
            <a:ext cx="1074438" cy="284012"/>
          </a:xfrm>
          <a:prstGeom prst="rect">
            <a:avLst/>
          </a:prstGeom>
        </p:spPr>
      </p:pic>
      <p:sp>
        <p:nvSpPr>
          <p:cNvPr id="5" name="MSIPCMContentMarking" descr="{&quot;HashCode&quot;:238546008,&quot;Placement&quot;:&quot;Footer&quot;,&quot;Top&quot;:579.4797,&quot;Left&quot;:399.909119,&quot;SlideWidth&quot;:842,&quot;SlideHeight&quot;:595}">
            <a:extLst>
              <a:ext uri="{FF2B5EF4-FFF2-40B4-BE49-F238E27FC236}">
                <a16:creationId xmlns:a16="http://schemas.microsoft.com/office/drawing/2014/main" id="{F08E5CEC-F5EF-44F7-A157-B91A686E1712}"/>
              </a:ext>
            </a:extLst>
          </p:cNvPr>
          <p:cNvSpPr txBox="1"/>
          <p:nvPr userDrawn="1"/>
        </p:nvSpPr>
        <p:spPr>
          <a:xfrm>
            <a:off x="5078846" y="7359392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1390732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9" r:id="rId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>
            <a:extLst>
              <a:ext uri="{FF2B5EF4-FFF2-40B4-BE49-F238E27FC236}">
                <a16:creationId xmlns:a16="http://schemas.microsoft.com/office/drawing/2014/main" id="{AF30727A-5F3D-4FBB-806A-9B11B3EFF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AF30727A-5F3D-4FBB-806A-9B11B3EFF7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 descr="Hintergrund">
            <a:extLst>
              <a:ext uri="{FF2B5EF4-FFF2-40B4-BE49-F238E27FC236}">
                <a16:creationId xmlns:a16="http://schemas.microsoft.com/office/drawing/2014/main" id="{92091211-0AE8-4FDE-927A-E711C0EB42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66" descr="shadow-v2.png">
            <a:extLst>
              <a:ext uri="{FF2B5EF4-FFF2-40B4-BE49-F238E27FC236}">
                <a16:creationId xmlns:a16="http://schemas.microsoft.com/office/drawing/2014/main" id="{5AD96265-F738-4007-B26F-3273681A8A2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7036176"/>
            <a:ext cx="10357375" cy="2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6">
            <a:extLst>
              <a:ext uri="{FF2B5EF4-FFF2-40B4-BE49-F238E27FC236}">
                <a16:creationId xmlns:a16="http://schemas.microsoft.com/office/drawing/2014/main" id="{067DEC4D-6CD5-4CD2-8F49-136E35CDB5B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57450" y="369313"/>
            <a:ext cx="9347443" cy="103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master title style</a:t>
            </a:r>
            <a:endParaRPr lang="en-GB" altLang="fr-FR"/>
          </a:p>
        </p:txBody>
      </p:sp>
      <p:grpSp>
        <p:nvGrpSpPr>
          <p:cNvPr id="4102" name="Group 7">
            <a:extLst>
              <a:ext uri="{FF2B5EF4-FFF2-40B4-BE49-F238E27FC236}">
                <a16:creationId xmlns:a16="http://schemas.microsoft.com/office/drawing/2014/main" id="{4F1CC1DD-CDCD-4BAF-8369-0BFF1922E00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094960" y="7195453"/>
            <a:ext cx="1009932" cy="260793"/>
            <a:chOff x="1005" y="1644"/>
            <a:chExt cx="3749" cy="1030"/>
          </a:xfrm>
        </p:grpSpPr>
        <p:sp>
          <p:nvSpPr>
            <p:cNvPr id="4106" name="Freeform 8">
              <a:extLst>
                <a:ext uri="{FF2B5EF4-FFF2-40B4-BE49-F238E27FC236}">
                  <a16:creationId xmlns:a16="http://schemas.microsoft.com/office/drawing/2014/main" id="{D74D4E00-EC16-48F6-88B5-D1E58E159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4107" name="Freeform 9">
              <a:extLst>
                <a:ext uri="{FF2B5EF4-FFF2-40B4-BE49-F238E27FC236}">
                  <a16:creationId xmlns:a16="http://schemas.microsoft.com/office/drawing/2014/main" id="{B5D41E8D-F882-463D-8084-E1DA919F05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47004 w 501"/>
                <a:gd name="T1" fmla="*/ 304971 h 429"/>
                <a:gd name="T2" fmla="*/ 327389 w 501"/>
                <a:gd name="T3" fmla="*/ 279540 h 429"/>
                <a:gd name="T4" fmla="*/ 320135 w 501"/>
                <a:gd name="T5" fmla="*/ 269953 h 429"/>
                <a:gd name="T6" fmla="*/ 278357 w 501"/>
                <a:gd name="T7" fmla="*/ 250226 h 429"/>
                <a:gd name="T8" fmla="*/ 224262 w 501"/>
                <a:gd name="T9" fmla="*/ 304971 h 429"/>
                <a:gd name="T10" fmla="*/ 278357 w 501"/>
                <a:gd name="T11" fmla="*/ 358531 h 429"/>
                <a:gd name="T12" fmla="*/ 320135 w 501"/>
                <a:gd name="T13" fmla="*/ 339146 h 429"/>
                <a:gd name="T14" fmla="*/ 327389 w 501"/>
                <a:gd name="T15" fmla="*/ 329413 h 429"/>
                <a:gd name="T16" fmla="*/ 347004 w 501"/>
                <a:gd name="T17" fmla="*/ 304971 h 429"/>
                <a:gd name="T18" fmla="*/ 156709 w 501"/>
                <a:gd name="T19" fmla="*/ 303730 h 429"/>
                <a:gd name="T20" fmla="*/ 278357 w 501"/>
                <a:gd name="T21" fmla="*/ 182877 h 429"/>
                <a:gd name="T22" fmla="*/ 371280 w 501"/>
                <a:gd name="T23" fmla="*/ 225824 h 429"/>
                <a:gd name="T24" fmla="*/ 371967 w 501"/>
                <a:gd name="T25" fmla="*/ 227878 h 429"/>
                <a:gd name="T26" fmla="*/ 374074 w 501"/>
                <a:gd name="T27" fmla="*/ 227008 h 429"/>
                <a:gd name="T28" fmla="*/ 241431 w 501"/>
                <a:gd name="T29" fmla="*/ 0 h 429"/>
                <a:gd name="T30" fmla="*/ 0 w 501"/>
                <a:gd name="T31" fmla="*/ 417997 h 429"/>
                <a:gd name="T32" fmla="*/ 235705 w 501"/>
                <a:gd name="T33" fmla="*/ 417997 h 429"/>
                <a:gd name="T34" fmla="*/ 236954 w 501"/>
                <a:gd name="T35" fmla="*/ 417125 h 429"/>
                <a:gd name="T36" fmla="*/ 212520 w 501"/>
                <a:gd name="T37" fmla="*/ 406505 h 429"/>
                <a:gd name="T38" fmla="*/ 156709 w 501"/>
                <a:gd name="T39" fmla="*/ 303730 h 429"/>
                <a:gd name="T40" fmla="*/ 479280 w 501"/>
                <a:gd name="T41" fmla="*/ 415868 h 429"/>
                <a:gd name="T42" fmla="*/ 454319 w 501"/>
                <a:gd name="T43" fmla="*/ 409226 h 429"/>
                <a:gd name="T44" fmla="*/ 391176 w 501"/>
                <a:gd name="T45" fmla="*/ 357292 h 429"/>
                <a:gd name="T46" fmla="*/ 367110 w 501"/>
                <a:gd name="T47" fmla="*/ 387844 h 429"/>
                <a:gd name="T48" fmla="*/ 321731 w 501"/>
                <a:gd name="T49" fmla="*/ 417125 h 429"/>
                <a:gd name="T50" fmla="*/ 321731 w 501"/>
                <a:gd name="T51" fmla="*/ 417997 h 429"/>
                <a:gd name="T52" fmla="*/ 484126 w 501"/>
                <a:gd name="T53" fmla="*/ 417997 h 429"/>
                <a:gd name="T54" fmla="*/ 484126 w 501"/>
                <a:gd name="T55" fmla="*/ 417125 h 429"/>
                <a:gd name="T56" fmla="*/ 479280 w 501"/>
                <a:gd name="T57" fmla="*/ 415868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4108" name="Freeform 10">
              <a:extLst>
                <a:ext uri="{FF2B5EF4-FFF2-40B4-BE49-F238E27FC236}">
                  <a16:creationId xmlns:a16="http://schemas.microsoft.com/office/drawing/2014/main" id="{093E5C4D-F6D0-4BB5-831C-25E83C2174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66232 w 937"/>
                <a:gd name="T1" fmla="*/ 131590 h 326"/>
                <a:gd name="T2" fmla="*/ 75706 w 937"/>
                <a:gd name="T3" fmla="*/ 86155 h 326"/>
                <a:gd name="T4" fmla="*/ 121316 w 937"/>
                <a:gd name="T5" fmla="*/ 51231 h 326"/>
                <a:gd name="T6" fmla="*/ 180456 w 937"/>
                <a:gd name="T7" fmla="*/ 96732 h 326"/>
                <a:gd name="T8" fmla="*/ 245941 w 937"/>
                <a:gd name="T9" fmla="*/ 96732 h 326"/>
                <a:gd name="T10" fmla="*/ 124242 w 937"/>
                <a:gd name="T11" fmla="*/ 0 h 326"/>
                <a:gd name="T12" fmla="*/ 11500 w 937"/>
                <a:gd name="T13" fmla="*/ 91002 h 326"/>
                <a:gd name="T14" fmla="*/ 101116 w 937"/>
                <a:gd name="T15" fmla="*/ 177102 h 326"/>
                <a:gd name="T16" fmla="*/ 191271 w 937"/>
                <a:gd name="T17" fmla="*/ 226803 h 326"/>
                <a:gd name="T18" fmla="*/ 131923 w 937"/>
                <a:gd name="T19" fmla="*/ 264427 h 326"/>
                <a:gd name="T20" fmla="*/ 64894 w 937"/>
                <a:gd name="T21" fmla="*/ 208344 h 326"/>
                <a:gd name="T22" fmla="*/ 872 w 937"/>
                <a:gd name="T23" fmla="*/ 208344 h 326"/>
                <a:gd name="T24" fmla="*/ 130350 w 937"/>
                <a:gd name="T25" fmla="*/ 315813 h 326"/>
                <a:gd name="T26" fmla="*/ 255293 w 937"/>
                <a:gd name="T27" fmla="*/ 218926 h 326"/>
                <a:gd name="T28" fmla="*/ 166232 w 937"/>
                <a:gd name="T29" fmla="*/ 131590 h 326"/>
                <a:gd name="T30" fmla="*/ 525571 w 937"/>
                <a:gd name="T31" fmla="*/ 117397 h 326"/>
                <a:gd name="T32" fmla="*/ 525571 w 937"/>
                <a:gd name="T33" fmla="*/ 117397 h 326"/>
                <a:gd name="T34" fmla="*/ 459808 w 937"/>
                <a:gd name="T35" fmla="*/ 84029 h 326"/>
                <a:gd name="T36" fmla="*/ 363550 w 937"/>
                <a:gd name="T37" fmla="*/ 197604 h 326"/>
                <a:gd name="T38" fmla="*/ 461365 w 937"/>
                <a:gd name="T39" fmla="*/ 315001 h 326"/>
                <a:gd name="T40" fmla="*/ 527660 w 937"/>
                <a:gd name="T41" fmla="*/ 280946 h 326"/>
                <a:gd name="T42" fmla="*/ 528385 w 937"/>
                <a:gd name="T43" fmla="*/ 280946 h 326"/>
                <a:gd name="T44" fmla="*/ 528385 w 937"/>
                <a:gd name="T45" fmla="*/ 308898 h 326"/>
                <a:gd name="T46" fmla="*/ 585980 w 937"/>
                <a:gd name="T47" fmla="*/ 308898 h 326"/>
                <a:gd name="T48" fmla="*/ 585980 w 937"/>
                <a:gd name="T49" fmla="*/ 7778 h 326"/>
                <a:gd name="T50" fmla="*/ 525571 w 937"/>
                <a:gd name="T51" fmla="*/ 7778 h 326"/>
                <a:gd name="T52" fmla="*/ 525571 w 937"/>
                <a:gd name="T53" fmla="*/ 117397 h 326"/>
                <a:gd name="T54" fmla="*/ 476166 w 937"/>
                <a:gd name="T55" fmla="*/ 269498 h 326"/>
                <a:gd name="T56" fmla="*/ 423585 w 937"/>
                <a:gd name="T57" fmla="*/ 199657 h 326"/>
                <a:gd name="T58" fmla="*/ 476166 w 937"/>
                <a:gd name="T59" fmla="*/ 130033 h 326"/>
                <a:gd name="T60" fmla="*/ 527660 w 937"/>
                <a:gd name="T61" fmla="*/ 198473 h 326"/>
                <a:gd name="T62" fmla="*/ 476166 w 937"/>
                <a:gd name="T63" fmla="*/ 269498 h 326"/>
                <a:gd name="T64" fmla="*/ 719959 w 937"/>
                <a:gd name="T65" fmla="*/ 84029 h 326"/>
                <a:gd name="T66" fmla="*/ 608207 w 937"/>
                <a:gd name="T67" fmla="*/ 199657 h 326"/>
                <a:gd name="T68" fmla="*/ 719959 w 937"/>
                <a:gd name="T69" fmla="*/ 315001 h 326"/>
                <a:gd name="T70" fmla="*/ 821985 w 937"/>
                <a:gd name="T71" fmla="*/ 241208 h 326"/>
                <a:gd name="T72" fmla="*/ 769364 w 937"/>
                <a:gd name="T73" fmla="*/ 241208 h 326"/>
                <a:gd name="T74" fmla="*/ 722085 w 937"/>
                <a:gd name="T75" fmla="*/ 269498 h 326"/>
                <a:gd name="T76" fmla="*/ 667444 w 937"/>
                <a:gd name="T77" fmla="*/ 214072 h 326"/>
                <a:gd name="T78" fmla="*/ 825787 w 937"/>
                <a:gd name="T79" fmla="*/ 214072 h 326"/>
                <a:gd name="T80" fmla="*/ 719959 w 937"/>
                <a:gd name="T81" fmla="*/ 84029 h 326"/>
                <a:gd name="T82" fmla="*/ 667444 w 937"/>
                <a:gd name="T83" fmla="*/ 176443 h 326"/>
                <a:gd name="T84" fmla="*/ 718061 w 937"/>
                <a:gd name="T85" fmla="*/ 130033 h 326"/>
                <a:gd name="T86" fmla="*/ 765775 w 937"/>
                <a:gd name="T87" fmla="*/ 176443 h 326"/>
                <a:gd name="T88" fmla="*/ 667444 w 937"/>
                <a:gd name="T89" fmla="*/ 176443 h 326"/>
                <a:gd name="T90" fmla="*/ 850313 w 937"/>
                <a:gd name="T91" fmla="*/ 308898 h 326"/>
                <a:gd name="T92" fmla="*/ 910349 w 937"/>
                <a:gd name="T93" fmla="*/ 308898 h 326"/>
                <a:gd name="T94" fmla="*/ 910349 w 937"/>
                <a:gd name="T95" fmla="*/ 7778 h 326"/>
                <a:gd name="T96" fmla="*/ 850313 w 937"/>
                <a:gd name="T97" fmla="*/ 7778 h 326"/>
                <a:gd name="T98" fmla="*/ 850313 w 937"/>
                <a:gd name="T99" fmla="*/ 308898 h 326"/>
                <a:gd name="T100" fmla="*/ 277894 w 937"/>
                <a:gd name="T101" fmla="*/ 308898 h 326"/>
                <a:gd name="T102" fmla="*/ 337979 w 937"/>
                <a:gd name="T103" fmla="*/ 308898 h 326"/>
                <a:gd name="T104" fmla="*/ 337979 w 937"/>
                <a:gd name="T105" fmla="*/ 90260 h 326"/>
                <a:gd name="T106" fmla="*/ 277894 w 937"/>
                <a:gd name="T107" fmla="*/ 90260 h 326"/>
                <a:gd name="T108" fmla="*/ 277894 w 937"/>
                <a:gd name="T109" fmla="*/ 308898 h 326"/>
                <a:gd name="T110" fmla="*/ 277894 w 937"/>
                <a:gd name="T111" fmla="*/ 56987 h 326"/>
                <a:gd name="T112" fmla="*/ 337979 w 937"/>
                <a:gd name="T113" fmla="*/ 56987 h 326"/>
                <a:gd name="T114" fmla="*/ 337979 w 937"/>
                <a:gd name="T115" fmla="*/ 7778 h 326"/>
                <a:gd name="T116" fmla="*/ 277894 w 937"/>
                <a:gd name="T117" fmla="*/ 7778 h 326"/>
                <a:gd name="T118" fmla="*/ 277894 w 937"/>
                <a:gd name="T119" fmla="*/ 5698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DA380D53-9E83-4805-8579-964080C485E8}"/>
              </a:ext>
            </a:extLst>
          </p:cNvPr>
          <p:cNvSpPr txBox="1">
            <a:spLocks/>
          </p:cNvSpPr>
          <p:nvPr userDrawn="1"/>
        </p:nvSpPr>
        <p:spPr>
          <a:xfrm>
            <a:off x="1568738" y="7305721"/>
            <a:ext cx="1590179" cy="1526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Introducing Sidel Services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7F374094-AA21-4978-B117-BA387B250F99}"/>
              </a:ext>
            </a:extLst>
          </p:cNvPr>
          <p:cNvSpPr txBox="1">
            <a:spLocks/>
          </p:cNvSpPr>
          <p:nvPr userDrawn="1"/>
        </p:nvSpPr>
        <p:spPr>
          <a:xfrm>
            <a:off x="761162" y="7305721"/>
            <a:ext cx="492122" cy="1526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Page </a:t>
            </a:r>
            <a:fld id="{7A41D2F9-DED4-4BB3-AD8D-1981CEB5E609}" type="slidenum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4105" name="Text Placeholder 3">
            <a:extLst>
              <a:ext uri="{FF2B5EF4-FFF2-40B4-BE49-F238E27FC236}">
                <a16:creationId xmlns:a16="http://schemas.microsoft.com/office/drawing/2014/main" id="{D1A7BE40-1930-4C06-8536-32E6F9CDC6D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53012" cy="5250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3" name="MSIPCMContentMarking" descr="{&quot;HashCode&quot;:238546008,&quot;Placement&quot;:&quot;Footer&quot;,&quot;Top&quot;:579.4797,&quot;Left&quot;:399.909119,&quot;SlideWidth&quot;:842,&quot;SlideHeight&quot;:595}">
            <a:extLst>
              <a:ext uri="{FF2B5EF4-FFF2-40B4-BE49-F238E27FC236}">
                <a16:creationId xmlns:a16="http://schemas.microsoft.com/office/drawing/2014/main" id="{8748E846-3E7E-45B6-8220-9499ED71EAF6}"/>
              </a:ext>
            </a:extLst>
          </p:cNvPr>
          <p:cNvSpPr txBox="1"/>
          <p:nvPr userDrawn="1"/>
        </p:nvSpPr>
        <p:spPr>
          <a:xfrm>
            <a:off x="5078846" y="7359392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7729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308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205" noProof="1">
          <a:solidFill>
            <a:schemeClr val="tx1"/>
          </a:solidFill>
          <a:latin typeface="+mn-lt"/>
          <a:ea typeface="+mn-ea"/>
          <a:cs typeface="+mn-cs"/>
        </a:defRPr>
      </a:lvl1pPr>
      <a:lvl2pPr marL="201276" indent="-201276" algn="l" rtl="0" eaLnBrk="0" fontAlgn="base" hangingPunct="0">
        <a:spcBef>
          <a:spcPts val="1323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2524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764" noProof="1">
          <a:solidFill>
            <a:schemeClr val="tx1"/>
          </a:solidFill>
          <a:latin typeface="+mn-lt"/>
          <a:ea typeface="+mn-ea"/>
          <a:cs typeface="+mn-cs"/>
        </a:defRPr>
      </a:lvl3pPr>
      <a:lvl4pPr marL="595074" indent="-201276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764" noProof="1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2524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764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rtl="0" eaLnBrk="1" latinLnBrk="0" hangingPunct="1">
        <a:spcBef>
          <a:spcPct val="20000"/>
        </a:spcBef>
        <a:buChar char="•"/>
        <a:defRPr sz="2205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04063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1008126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512189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2016252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520315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3024378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528441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4032504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92" smtClean="0">
                <a:solidFill>
                  <a:schemeClr val="bg2"/>
                </a:solidFill>
              </a:rPr>
              <a:pPr/>
              <a:t>‹#›</a:t>
            </a:fld>
            <a:endParaRPr lang="en-GB" sz="992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92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92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March 2022</a:t>
            </a:fld>
            <a:r>
              <a:rPr lang="en-GB" sz="992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992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92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265" y="7144472"/>
            <a:ext cx="1074438" cy="284012"/>
          </a:xfrm>
          <a:prstGeom prst="rect">
            <a:avLst/>
          </a:prstGeom>
        </p:spPr>
      </p:pic>
      <p:sp>
        <p:nvSpPr>
          <p:cNvPr id="5" name="MSIPCMContentMarking" descr="{&quot;HashCode&quot;:238546008,&quot;Placement&quot;:&quot;Footer&quot;,&quot;Top&quot;:579.4797,&quot;Left&quot;:399.909119,&quot;SlideWidth&quot;:842,&quot;SlideHeight&quot;:595}">
            <a:extLst>
              <a:ext uri="{FF2B5EF4-FFF2-40B4-BE49-F238E27FC236}">
                <a16:creationId xmlns:a16="http://schemas.microsoft.com/office/drawing/2014/main" id="{80DAB56A-05C6-4E25-AD89-ED790087B8F9}"/>
              </a:ext>
            </a:extLst>
          </p:cNvPr>
          <p:cNvSpPr txBox="1"/>
          <p:nvPr userDrawn="1"/>
        </p:nvSpPr>
        <p:spPr>
          <a:xfrm>
            <a:off x="5078846" y="7359392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385967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2016" y="7135385"/>
            <a:ext cx="1425070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92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92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March 2022</a:t>
            </a:fld>
            <a:endParaRPr lang="en-GB" sz="992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92" smtClean="0">
                <a:solidFill>
                  <a:schemeClr val="bg2"/>
                </a:solidFill>
              </a:rPr>
              <a:pPr/>
              <a:t>‹#›</a:t>
            </a:fld>
            <a:endParaRPr lang="en-GB" sz="992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9030911" y="7165052"/>
            <a:ext cx="1077695" cy="278292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985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985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985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546008,&quot;Placement&quot;:&quot;Footer&quot;,&quot;Top&quot;:579.4797,&quot;Left&quot;:399.909119,&quot;SlideWidth&quot;:842,&quot;SlideHeight&quot;:595}">
            <a:extLst>
              <a:ext uri="{FF2B5EF4-FFF2-40B4-BE49-F238E27FC236}">
                <a16:creationId xmlns:a16="http://schemas.microsoft.com/office/drawing/2014/main" id="{2B03A335-0B5A-431A-A5C4-493BEE71412A}"/>
              </a:ext>
            </a:extLst>
          </p:cNvPr>
          <p:cNvSpPr txBox="1"/>
          <p:nvPr userDrawn="1"/>
        </p:nvSpPr>
        <p:spPr>
          <a:xfrm>
            <a:off x="5078846" y="7359392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9975074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2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2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4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3">
            <a:extLst>
              <a:ext uri="{FF2B5EF4-FFF2-40B4-BE49-F238E27FC236}">
                <a16:creationId xmlns:a16="http://schemas.microsoft.com/office/drawing/2014/main" id="{22CE3A35-9A9B-426D-B110-BA19414777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978" y="661610"/>
            <a:ext cx="8884483" cy="1357295"/>
          </a:xfrm>
        </p:spPr>
        <p:txBody>
          <a:bodyPr/>
          <a:lstStyle/>
          <a:p>
            <a:r>
              <a:rPr lang="en-US" altLang="fr-FR" dirty="0"/>
              <a:t>Improving  health and safety in the workplac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47C06D3-5B9F-464F-B991-C1A3F4F531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9978" y="2376897"/>
            <a:ext cx="8402318" cy="1697783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en-GB" b="1" dirty="0"/>
              <a:t>Line Improvement: ref. </a:t>
            </a:r>
            <a:r>
              <a:rPr lang="fr-FR" altLang="fr-FR" b="1" dirty="0"/>
              <a:t>#1052 </a:t>
            </a:r>
            <a:r>
              <a:rPr lang="de-DE" sz="2200" b="1" dirty="0" err="1"/>
              <a:t>ejection</a:t>
            </a:r>
            <a:r>
              <a:rPr lang="de-DE" sz="2200" b="1" dirty="0"/>
              <a:t> </a:t>
            </a:r>
            <a:r>
              <a:rPr lang="en-US" sz="2200" b="1" dirty="0"/>
              <a:t>chute and basket for </a:t>
            </a:r>
            <a:r>
              <a:rPr lang="fr-FR" sz="2200" b="1" dirty="0"/>
              <a:t>MM GM Universal (SBO 10-14-16-20)</a:t>
            </a:r>
            <a:endParaRPr lang="en-GB" sz="2200" b="1" dirty="0"/>
          </a:p>
          <a:p>
            <a:pPr>
              <a:defRPr/>
            </a:pPr>
            <a:br>
              <a:rPr lang="en-GB" dirty="0"/>
            </a:br>
            <a:endParaRPr lang="en-GB" dirty="0"/>
          </a:p>
          <a:p>
            <a:pPr>
              <a:defRPr/>
            </a:pPr>
            <a:r>
              <a:rPr lang="fr-FR" dirty="0"/>
              <a:t>Sidel Services</a:t>
            </a:r>
          </a:p>
        </p:txBody>
      </p:sp>
    </p:spTree>
    <p:extLst>
      <p:ext uri="{BB962C8B-B14F-4D97-AF65-F5344CB8AC3E}">
        <p14:creationId xmlns:p14="http://schemas.microsoft.com/office/powerpoint/2010/main" val="7707830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59" y="31"/>
            <a:ext cx="10081683" cy="704373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flipV="1">
            <a:off x="305859" y="8701"/>
            <a:ext cx="10081683" cy="26604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1000">
                <a:srgbClr val="FFFFFF">
                  <a:alpha val="0"/>
                </a:srgb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0812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8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308" y="369133"/>
            <a:ext cx="8811550" cy="509007"/>
          </a:xfrm>
        </p:spPr>
        <p:txBody>
          <a:bodyPr/>
          <a:lstStyle/>
          <a:p>
            <a:r>
              <a:rPr lang="en-GB" dirty="0"/>
              <a:t>Service package: all you can need!</a:t>
            </a:r>
          </a:p>
        </p:txBody>
      </p:sp>
    </p:spTree>
    <p:extLst>
      <p:ext uri="{BB962C8B-B14F-4D97-AF65-F5344CB8AC3E}">
        <p14:creationId xmlns:p14="http://schemas.microsoft.com/office/powerpoint/2010/main" val="15262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93"/>
          <a:stretch/>
        </p:blipFill>
        <p:spPr>
          <a:xfrm>
            <a:off x="305859" y="0"/>
            <a:ext cx="10081683" cy="7043176"/>
          </a:xfrm>
          <a:prstGeom prst="rect">
            <a:avLst/>
          </a:prstGeom>
        </p:spPr>
      </p:pic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09224" y="3468319"/>
            <a:ext cx="3163912" cy="2059563"/>
          </a:xfrm>
          <a:prstGeom prst="rect">
            <a:avLst/>
          </a:prstGeom>
          <a:solidFill>
            <a:srgbClr val="000000">
              <a:alpha val="65097"/>
            </a:srgbClr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wrap="square" tIns="119075" bIns="119075">
            <a:spAutoFit/>
          </a:bodyPr>
          <a:lstStyle/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764" b="0" dirty="0">
                <a:solidFill>
                  <a:srgbClr val="FFFFFF"/>
                </a:solidFill>
                <a:latin typeface="Arial"/>
              </a:rPr>
              <a:t>Options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764" b="0" dirty="0">
                <a:solidFill>
                  <a:srgbClr val="FFFFFF"/>
                </a:solidFill>
                <a:latin typeface="Arial"/>
              </a:rPr>
              <a:t>Upgrades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764" b="0" dirty="0">
                <a:solidFill>
                  <a:srgbClr val="FFFFFF"/>
                </a:solidFill>
                <a:latin typeface="Arial"/>
              </a:rPr>
              <a:t>Remote data analysis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764" b="0" dirty="0">
                <a:solidFill>
                  <a:srgbClr val="FFFFFF"/>
                </a:solidFill>
                <a:latin typeface="Arial"/>
              </a:rPr>
              <a:t>Line audits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764" b="0" dirty="0">
                <a:solidFill>
                  <a:srgbClr val="FFFFFF"/>
                </a:solidFill>
                <a:latin typeface="Arial"/>
              </a:rPr>
              <a:t>Second-hand equipment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09225" y="2911726"/>
            <a:ext cx="3163912" cy="556593"/>
          </a:xfrm>
          <a:prstGeom prst="rect">
            <a:avLst/>
          </a:prstGeom>
          <a:solidFill>
            <a:srgbClr val="E64B00"/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tIns="51599" anchor="ctr"/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205" dirty="0">
                <a:solidFill>
                  <a:srgbClr val="FFFFFF"/>
                </a:solidFill>
                <a:latin typeface="Arial"/>
              </a:rPr>
              <a:t>The full package</a:t>
            </a:r>
          </a:p>
        </p:txBody>
      </p:sp>
      <p:sp>
        <p:nvSpPr>
          <p:cNvPr id="8" name="Rectangle 3"/>
          <p:cNvSpPr/>
          <p:nvPr/>
        </p:nvSpPr>
        <p:spPr>
          <a:xfrm flipV="1">
            <a:off x="291877" y="-452083"/>
            <a:ext cx="10249690" cy="26604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1000">
                <a:srgbClr val="FFFFFF">
                  <a:alpha val="0"/>
                </a:srgb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0812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8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308" y="369132"/>
            <a:ext cx="8811550" cy="1018014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Line improvement</a:t>
            </a:r>
            <a:br>
              <a:rPr lang="en-US" dirty="0"/>
            </a:br>
            <a:r>
              <a:rPr lang="en-US" b="0" dirty="0"/>
              <a:t>Time to increase your resource efficiency</a:t>
            </a:r>
            <a:endParaRPr lang="it-IT" b="0" dirty="0"/>
          </a:p>
        </p:txBody>
      </p:sp>
    </p:spTree>
    <p:extLst>
      <p:ext uri="{BB962C8B-B14F-4D97-AF65-F5344CB8AC3E}">
        <p14:creationId xmlns:p14="http://schemas.microsoft.com/office/powerpoint/2010/main" val="322273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59" y="31"/>
            <a:ext cx="10081683" cy="704373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 flipV="1">
            <a:off x="305859" y="8701"/>
            <a:ext cx="10081683" cy="363190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1000">
                <a:srgbClr val="FFFFFF">
                  <a:alpha val="0"/>
                </a:srgb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0812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8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309" y="369132"/>
            <a:ext cx="9367233" cy="1018014"/>
          </a:xfrm>
        </p:spPr>
        <p:txBody>
          <a:bodyPr/>
          <a:lstStyle/>
          <a:p>
            <a:r>
              <a:rPr lang="en-US" dirty="0"/>
              <a:t>Sidel Options &amp; Upgrades</a:t>
            </a:r>
            <a:br>
              <a:rPr lang="en-US" dirty="0"/>
            </a:br>
            <a:r>
              <a:rPr lang="en-US" b="0" dirty="0"/>
              <a:t>Made for you and your line</a:t>
            </a:r>
            <a:endParaRPr lang="en-GB" b="0" dirty="0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15229" y="2479910"/>
            <a:ext cx="4493612" cy="1672663"/>
          </a:xfrm>
          <a:prstGeom prst="rect">
            <a:avLst/>
          </a:prstGeom>
          <a:solidFill>
            <a:srgbClr val="000000">
              <a:alpha val="65097"/>
            </a:srgbClr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tIns="119075" bIns="119075">
            <a:spAutoFit/>
          </a:bodyPr>
          <a:lstStyle/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764" b="0" dirty="0">
                <a:solidFill>
                  <a:srgbClr val="FFFFFF"/>
                </a:solidFill>
                <a:latin typeface="Arial"/>
              </a:rPr>
              <a:t>Boost product quality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764" b="0" dirty="0">
                <a:solidFill>
                  <a:srgbClr val="FFFFFF"/>
                </a:solidFill>
                <a:latin typeface="Arial"/>
              </a:rPr>
              <a:t>Increase efficiency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764" b="0" dirty="0">
                <a:solidFill>
                  <a:srgbClr val="FFFFFF"/>
                </a:solidFill>
                <a:latin typeface="Arial"/>
              </a:rPr>
              <a:t>Reduce Total Cost of Ownership (TCO)</a:t>
            </a:r>
          </a:p>
          <a:p>
            <a:pPr marL="201276" lvl="1" indent="-201276" defTabSz="1008126" eaLnBrk="1" fontAlgn="auto" hangingPunct="1">
              <a:spcBef>
                <a:spcPts val="882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764" b="0" dirty="0">
                <a:solidFill>
                  <a:srgbClr val="FFFFFF"/>
                </a:solidFill>
                <a:latin typeface="Arial"/>
              </a:rPr>
              <a:t>Future-proof your productivity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15230" y="1921821"/>
            <a:ext cx="4493610" cy="556593"/>
          </a:xfrm>
          <a:prstGeom prst="rect">
            <a:avLst/>
          </a:prstGeom>
          <a:solidFill>
            <a:srgbClr val="E64B00"/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anchor="ctr"/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2205" kern="0" dirty="0">
                <a:solidFill>
                  <a:srgbClr val="FFFFFF"/>
                </a:solidFill>
                <a:latin typeface="Arial"/>
                <a:cs typeface="ＭＳ Ｐゴシック"/>
              </a:rPr>
              <a:t>OPTIONS &amp; UPGRADES</a:t>
            </a:r>
            <a:endParaRPr lang="en-GB" sz="2205" kern="0" dirty="0">
              <a:solidFill>
                <a:sysClr val="windowText" lastClr="000000"/>
              </a:solidFill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9229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7C083B-820F-4427-A9C0-FE822162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450" y="605500"/>
            <a:ext cx="9347443" cy="861774"/>
          </a:xfrm>
        </p:spPr>
        <p:txBody>
          <a:bodyPr/>
          <a:lstStyle/>
          <a:p>
            <a:r>
              <a:rPr lang="de-DE" sz="2800" dirty="0"/>
              <a:t>1052: ejection c</a:t>
            </a:r>
            <a:r>
              <a:rPr lang="en-US" sz="2800" dirty="0" err="1"/>
              <a:t>hute</a:t>
            </a:r>
            <a:r>
              <a:rPr lang="en-US" sz="2800" dirty="0"/>
              <a:t> and basket for MM </a:t>
            </a:r>
            <a:r>
              <a:rPr lang="fr-FR" sz="2800" dirty="0"/>
              <a:t>GM Universal (SBO 10-14-16-20)</a:t>
            </a:r>
            <a:endParaRPr lang="it-IT" sz="2800" dirty="0"/>
          </a:p>
        </p:txBody>
      </p:sp>
      <p:sp>
        <p:nvSpPr>
          <p:cNvPr id="7" name="Rechteck 3">
            <a:extLst>
              <a:ext uri="{FF2B5EF4-FFF2-40B4-BE49-F238E27FC236}">
                <a16:creationId xmlns:a16="http://schemas.microsoft.com/office/drawing/2014/main" id="{921A3E86-62EE-4EC9-939D-B3FFF8DFEF85}"/>
              </a:ext>
            </a:extLst>
          </p:cNvPr>
          <p:cNvSpPr/>
          <p:nvPr/>
        </p:nvSpPr>
        <p:spPr bwMode="auto">
          <a:xfrm>
            <a:off x="757451" y="2338922"/>
            <a:ext cx="4448804" cy="38279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725" tIns="63150" rIns="94725" bIns="63150" anchor="ctr"/>
          <a:lstStyle/>
          <a:p>
            <a:pPr>
              <a:spcBef>
                <a:spcPts val="263"/>
              </a:spcBef>
              <a:buClr>
                <a:srgbClr val="FF6600"/>
              </a:buClr>
              <a:defRPr/>
            </a:pPr>
            <a:r>
              <a:rPr lang="en-GB" sz="1228">
                <a:solidFill>
                  <a:srgbClr val="FFFFFF"/>
                </a:solidFill>
                <a:latin typeface="Arial"/>
                <a:ea typeface="MS PGothic" pitchFamily="34" charset="-128"/>
              </a:rPr>
              <a:t>VALUE AND BENEFITS</a:t>
            </a:r>
          </a:p>
        </p:txBody>
      </p:sp>
      <p:sp>
        <p:nvSpPr>
          <p:cNvPr id="8" name="Rechteck 4">
            <a:extLst>
              <a:ext uri="{FF2B5EF4-FFF2-40B4-BE49-F238E27FC236}">
                <a16:creationId xmlns:a16="http://schemas.microsoft.com/office/drawing/2014/main" id="{CC9C6C4E-818A-4831-A5E4-AE771FCDCCAF}"/>
              </a:ext>
            </a:extLst>
          </p:cNvPr>
          <p:cNvSpPr>
            <a:spLocks/>
          </p:cNvSpPr>
          <p:nvPr/>
        </p:nvSpPr>
        <p:spPr bwMode="auto">
          <a:xfrm>
            <a:off x="757450" y="2721719"/>
            <a:ext cx="4448805" cy="34762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725" tIns="63150" rIns="94725" bIns="63150"/>
          <a:lstStyle/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Matrix latest solid material replaces the nets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Chute can be cleaned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Robust design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Design compatible with dedusting option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Basket easier to remove and handle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Main components can be dismantled and replaced easily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Better safety: anti-intrusion bar in the baskets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Easier access to the transfer table once removed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altLang="fr-FR" sz="1053" dirty="0">
              <a:solidFill>
                <a:srgbClr val="000000"/>
              </a:solidFill>
            </a:endParaRP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altLang="fr-FR" sz="1053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5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hteck 11">
            <a:extLst>
              <a:ext uri="{FF2B5EF4-FFF2-40B4-BE49-F238E27FC236}">
                <a16:creationId xmlns:a16="http://schemas.microsoft.com/office/drawing/2014/main" id="{1F0151DF-58E3-4EFF-8005-8601E492CFBC}"/>
              </a:ext>
            </a:extLst>
          </p:cNvPr>
          <p:cNvSpPr/>
          <p:nvPr/>
        </p:nvSpPr>
        <p:spPr bwMode="auto">
          <a:xfrm>
            <a:off x="5487146" y="2325999"/>
            <a:ext cx="4617749" cy="39572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725" tIns="63150" rIns="94725" bIns="63150" anchor="ctr"/>
          <a:lstStyle/>
          <a:p>
            <a:pPr marL="167088" indent="-167088">
              <a:spcBef>
                <a:spcPts val="263"/>
              </a:spcBef>
              <a:buClr>
                <a:srgbClr val="E64B00"/>
              </a:buClr>
              <a:defRPr/>
            </a:pPr>
            <a:r>
              <a:rPr lang="de-CH" altLang="de-DE" sz="1228" noProof="1">
                <a:solidFill>
                  <a:srgbClr val="FFFFFF"/>
                </a:solidFill>
                <a:latin typeface="Arial" charset="0"/>
                <a:cs typeface="Arial" charset="0"/>
              </a:rPr>
              <a:t>DESCRIPTION</a:t>
            </a:r>
            <a:endParaRPr lang="en-GB" altLang="de-DE" sz="1228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hteck 12">
            <a:extLst>
              <a:ext uri="{FF2B5EF4-FFF2-40B4-BE49-F238E27FC236}">
                <a16:creationId xmlns:a16="http://schemas.microsoft.com/office/drawing/2014/main" id="{D5464456-BC1C-4135-B8CA-C8B46BE1FB45}"/>
              </a:ext>
            </a:extLst>
          </p:cNvPr>
          <p:cNvSpPr>
            <a:spLocks/>
          </p:cNvSpPr>
          <p:nvPr/>
        </p:nvSpPr>
        <p:spPr bwMode="auto">
          <a:xfrm>
            <a:off x="5487146" y="2721719"/>
            <a:ext cx="4617749" cy="3476229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725" tIns="63150" rIns="94725" bIns="63150" anchor="t"/>
          <a:lstStyle/>
          <a:p>
            <a:pPr marL="300758" indent="-300758">
              <a:buClr>
                <a:srgbClr val="E64B00"/>
              </a:buClr>
              <a:buFont typeface="Wingdings" charset="2"/>
              <a:buChar char="§"/>
              <a:defRPr/>
            </a:pPr>
            <a:endParaRPr lang="en-GB" altLang="zh-CN" sz="1053" dirty="0">
              <a:solidFill>
                <a:srgbClr val="000000"/>
              </a:solidFill>
              <a:ea typeface="宋体" charset="-122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A6F457-3745-499C-AADE-B66B3DEC6486}"/>
              </a:ext>
            </a:extLst>
          </p:cNvPr>
          <p:cNvSpPr txBox="1">
            <a:spLocks/>
          </p:cNvSpPr>
          <p:nvPr/>
        </p:nvSpPr>
        <p:spPr bwMode="auto">
          <a:xfrm>
            <a:off x="757450" y="6355902"/>
            <a:ext cx="6998051" cy="367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702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Value: Efficiency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702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Equipment: Blower MM GM Universal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702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Catalogue code: 1052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39FB131-91BF-4F8C-840B-2164CEE919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2264" y="4047598"/>
            <a:ext cx="2297410" cy="205636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654E525-E30E-41FE-8131-B77109F03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6845" y="4306725"/>
            <a:ext cx="1925901" cy="148827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9783E9B-36D4-466B-9246-8D92BE8BCB5B}"/>
              </a:ext>
            </a:extLst>
          </p:cNvPr>
          <p:cNvSpPr/>
          <p:nvPr/>
        </p:nvSpPr>
        <p:spPr>
          <a:xfrm>
            <a:off x="5572264" y="2738530"/>
            <a:ext cx="5346700" cy="83760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New chutes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New baskets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Preform and bottle hatch</a:t>
            </a:r>
          </a:p>
          <a:p>
            <a:pPr marL="300758" indent="-300758">
              <a:spcBef>
                <a:spcPct val="20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053" dirty="0">
                <a:solidFill>
                  <a:srgbClr val="000000"/>
                </a:solidFill>
              </a:rPr>
              <a:t>Collecto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9C8A7A7-FAC7-43BD-9FD0-0964CE8F45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7450" y="1774580"/>
            <a:ext cx="9347445" cy="296940"/>
          </a:xfrm>
        </p:spPr>
        <p:txBody>
          <a:bodyPr/>
          <a:lstStyle/>
          <a:p>
            <a:r>
              <a:rPr lang="de-DE" dirty="0" err="1"/>
              <a:t>Improving</a:t>
            </a:r>
            <a:r>
              <a:rPr lang="de-DE" dirty="0"/>
              <a:t>  </a:t>
            </a:r>
            <a:r>
              <a:rPr lang="de-DE" dirty="0" err="1"/>
              <a:t>health</a:t>
            </a:r>
            <a:r>
              <a:rPr lang="de-DE" dirty="0"/>
              <a:t> and </a:t>
            </a:r>
            <a:r>
              <a:rPr lang="de-DE" dirty="0" err="1"/>
              <a:t>safety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kplac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84322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1107996"/>
          </a:xfrm>
        </p:spPr>
        <p:txBody>
          <a:bodyPr/>
          <a:lstStyle/>
          <a:p>
            <a:r>
              <a:rPr lang="de-DE" sz="3600" dirty="0" err="1"/>
              <a:t>Ejection</a:t>
            </a:r>
            <a:r>
              <a:rPr lang="de-DE" sz="3600" dirty="0"/>
              <a:t> c</a:t>
            </a:r>
            <a:r>
              <a:rPr lang="en-US" sz="3600" dirty="0" err="1"/>
              <a:t>hute</a:t>
            </a:r>
            <a:r>
              <a:rPr lang="en-US" sz="3600" dirty="0"/>
              <a:t> and basket for MM </a:t>
            </a:r>
            <a:r>
              <a:rPr lang="fr-FR" sz="3600" dirty="0"/>
              <a:t>GM Universal (SBO 10-14-16-20): </a:t>
            </a:r>
            <a:r>
              <a:rPr lang="fr-FR" sz="3600" dirty="0" err="1"/>
              <a:t>evolution</a:t>
            </a:r>
            <a:endParaRPr lang="de-D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9224199-3996-42BE-9634-08A46800D2F3}"/>
              </a:ext>
            </a:extLst>
          </p:cNvPr>
          <p:cNvGrpSpPr/>
          <p:nvPr/>
        </p:nvGrpSpPr>
        <p:grpSpPr>
          <a:xfrm>
            <a:off x="526402" y="2071469"/>
            <a:ext cx="8986033" cy="3991093"/>
            <a:chOff x="526402" y="2071469"/>
            <a:chExt cx="8986033" cy="3991093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F8749173-6850-461C-BA86-136A5A5A2E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21137" y="2071469"/>
              <a:ext cx="4391298" cy="3991093"/>
            </a:xfrm>
            <a:prstGeom prst="rect">
              <a:avLst/>
            </a:prstGeom>
          </p:spPr>
        </p:pic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34265A37-40FC-425E-BF6B-AF6EA5A71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6402" y="2230923"/>
              <a:ext cx="3663260" cy="3345865"/>
            </a:xfrm>
            <a:prstGeom prst="rect">
              <a:avLst/>
            </a:prstGeom>
          </p:spPr>
        </p:pic>
        <p:sp>
          <p:nvSpPr>
            <p:cNvPr id="12" name="Flèche : droite 11">
              <a:extLst>
                <a:ext uri="{FF2B5EF4-FFF2-40B4-BE49-F238E27FC236}">
                  <a16:creationId xmlns:a16="http://schemas.microsoft.com/office/drawing/2014/main" id="{5A0EDC78-87F0-4DF4-87F7-860E17A304FB}"/>
                </a:ext>
              </a:extLst>
            </p:cNvPr>
            <p:cNvSpPr/>
            <p:nvPr/>
          </p:nvSpPr>
          <p:spPr>
            <a:xfrm>
              <a:off x="4130774" y="4006629"/>
              <a:ext cx="440835" cy="325381"/>
            </a:xfrm>
            <a:prstGeom prst="rightArrow">
              <a:avLst/>
            </a:prstGeom>
            <a:solidFill>
              <a:srgbClr val="E64B00"/>
            </a:solidFill>
            <a:ln>
              <a:solidFill>
                <a:srgbClr val="E64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4725" tIns="63150" rIns="94725" bIns="631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754" dirty="0" err="1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03675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103" y="776607"/>
            <a:ext cx="9655792" cy="1018099"/>
          </a:xfrm>
        </p:spPr>
        <p:txBody>
          <a:bodyPr/>
          <a:lstStyle/>
          <a:p>
            <a:r>
              <a:rPr lang="de-DE" dirty="0"/>
              <a:t>Bill </a:t>
            </a:r>
            <a:r>
              <a:rPr lang="de-DE" dirty="0" err="1"/>
              <a:t>of</a:t>
            </a:r>
            <a:r>
              <a:rPr lang="de-DE" dirty="0"/>
              <a:t> material:</a:t>
            </a:r>
            <a:br>
              <a:rPr lang="de-DE" dirty="0"/>
            </a:br>
            <a:endParaRPr lang="de-DE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9884E33-E1A5-422C-9D4E-EFA64AB6A2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61" y="2256331"/>
            <a:ext cx="3982745" cy="18024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105E3C3-4D89-4B79-8F4F-B895D4AB55F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04" y="5279747"/>
            <a:ext cx="1970808" cy="89189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B8CE1B5-316B-4073-AE25-EE7CEBAF5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869" y="5270287"/>
            <a:ext cx="1970807" cy="89189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FAE5324-DAA2-4106-96BF-64AF1B5CD2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05" y="3760726"/>
            <a:ext cx="2151927" cy="97386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F6BD1AD-783C-46C4-83AC-23BA00934F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525" y="3792348"/>
            <a:ext cx="2151927" cy="973865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C991D2DC-D422-42AD-8B09-6FA1C3D1BBE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58593" y="2238971"/>
            <a:ext cx="2151927" cy="973865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7E753B99-5B25-469E-86D5-89248A2687C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05" y="2256503"/>
            <a:ext cx="2151928" cy="97386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769EC337-929F-45CC-9249-A74CE9D882B4}"/>
              </a:ext>
            </a:extLst>
          </p:cNvPr>
          <p:cNvSpPr txBox="1"/>
          <p:nvPr/>
        </p:nvSpPr>
        <p:spPr>
          <a:xfrm>
            <a:off x="757104" y="2093035"/>
            <a:ext cx="874414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Bottle</a:t>
            </a:r>
            <a:r>
              <a:rPr lang="fr-FR" sz="1053" dirty="0"/>
              <a:t> chut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BCE7EC2-F1D9-4196-8B7F-95589946B22A}"/>
              </a:ext>
            </a:extLst>
          </p:cNvPr>
          <p:cNvSpPr txBox="1"/>
          <p:nvPr/>
        </p:nvSpPr>
        <p:spPr>
          <a:xfrm>
            <a:off x="3475525" y="2066809"/>
            <a:ext cx="874414" cy="324063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Preform</a:t>
            </a:r>
            <a:r>
              <a:rPr lang="fr-FR" sz="1053" dirty="0"/>
              <a:t> chut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BAD759E5-2B24-4C78-999D-FC2EE8B4781B}"/>
              </a:ext>
            </a:extLst>
          </p:cNvPr>
          <p:cNvSpPr txBox="1"/>
          <p:nvPr/>
        </p:nvSpPr>
        <p:spPr>
          <a:xfrm>
            <a:off x="3475524" y="3628359"/>
            <a:ext cx="1006425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Preform</a:t>
            </a:r>
            <a:r>
              <a:rPr lang="fr-FR" sz="1053" dirty="0"/>
              <a:t> basket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5BB1B9C2-5118-44A0-93CF-2508F1DD0908}"/>
              </a:ext>
            </a:extLst>
          </p:cNvPr>
          <p:cNvSpPr txBox="1"/>
          <p:nvPr/>
        </p:nvSpPr>
        <p:spPr>
          <a:xfrm>
            <a:off x="757104" y="3587869"/>
            <a:ext cx="1006425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Bottle</a:t>
            </a:r>
            <a:r>
              <a:rPr lang="fr-FR" sz="1053" dirty="0"/>
              <a:t> basket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09B9C096-9ECE-45D7-BBAE-E8616D282F21}"/>
              </a:ext>
            </a:extLst>
          </p:cNvPr>
          <p:cNvSpPr txBox="1"/>
          <p:nvPr/>
        </p:nvSpPr>
        <p:spPr>
          <a:xfrm>
            <a:off x="6158844" y="2077003"/>
            <a:ext cx="1006425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/>
              <a:t>Collector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172C6A01-4D1D-4648-8E9F-C5C511CF9ADC}"/>
              </a:ext>
            </a:extLst>
          </p:cNvPr>
          <p:cNvSpPr txBox="1"/>
          <p:nvPr/>
        </p:nvSpPr>
        <p:spPr>
          <a:xfrm>
            <a:off x="757449" y="5117779"/>
            <a:ext cx="1006425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Bottle</a:t>
            </a:r>
            <a:r>
              <a:rPr lang="fr-FR" sz="1053" dirty="0"/>
              <a:t> </a:t>
            </a:r>
            <a:r>
              <a:rPr lang="fr-FR" sz="1053" dirty="0" err="1"/>
              <a:t>hatch</a:t>
            </a:r>
            <a:endParaRPr lang="fr-FR" sz="1053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C0B03190-964E-43D6-B0C9-AE547DC40127}"/>
              </a:ext>
            </a:extLst>
          </p:cNvPr>
          <p:cNvSpPr txBox="1"/>
          <p:nvPr/>
        </p:nvSpPr>
        <p:spPr>
          <a:xfrm>
            <a:off x="3484741" y="5123716"/>
            <a:ext cx="1006425" cy="16203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53" dirty="0" err="1"/>
              <a:t>Preform</a:t>
            </a:r>
            <a:r>
              <a:rPr lang="fr-FR" sz="1053" dirty="0"/>
              <a:t> </a:t>
            </a:r>
            <a:r>
              <a:rPr lang="fr-FR" sz="1053" dirty="0" err="1"/>
              <a:t>hatch</a:t>
            </a:r>
            <a:endParaRPr lang="fr-FR" sz="1053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9535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kt 5" hidden="1">
            <a:extLst>
              <a:ext uri="{FF2B5EF4-FFF2-40B4-BE49-F238E27FC236}">
                <a16:creationId xmlns:a16="http://schemas.microsoft.com/office/drawing/2014/main" id="{ED7AF640-E3F7-4BB4-BFC8-9F8D632EC0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38069" y="774506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8130" name="Objekt 5" hidden="1">
                        <a:extLst>
                          <a:ext uri="{FF2B5EF4-FFF2-40B4-BE49-F238E27FC236}">
                            <a16:creationId xmlns:a16="http://schemas.microsoft.com/office/drawing/2014/main" id="{ED7AF640-E3F7-4BB4-BFC8-9F8D632EC08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8069" y="774506"/>
                        <a:ext cx="1392" cy="13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Title 1">
            <a:extLst>
              <a:ext uri="{FF2B5EF4-FFF2-40B4-BE49-F238E27FC236}">
                <a16:creationId xmlns:a16="http://schemas.microsoft.com/office/drawing/2014/main" id="{91528D5E-AA00-4FE1-BF6E-52EAD3A6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130" y="498490"/>
            <a:ext cx="9742170" cy="1018099"/>
          </a:xfrm>
        </p:spPr>
        <p:txBody>
          <a:bodyPr/>
          <a:lstStyle/>
          <a:p>
            <a:r>
              <a:rPr lang="de-DE" dirty="0" err="1"/>
              <a:t>Ejection</a:t>
            </a:r>
            <a:r>
              <a:rPr lang="de-DE" dirty="0"/>
              <a:t> </a:t>
            </a:r>
            <a:r>
              <a:rPr lang="de-DE" dirty="0" err="1"/>
              <a:t>chute</a:t>
            </a:r>
            <a:r>
              <a:rPr lang="de-DE" dirty="0"/>
              <a:t> and  </a:t>
            </a:r>
            <a:r>
              <a:rPr lang="de-DE" dirty="0" err="1"/>
              <a:t>bask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M GM Universal</a:t>
            </a:r>
            <a:endParaRPr lang="fr-FR" altLang="fr-FR" dirty="0">
              <a:solidFill>
                <a:srgbClr val="E64B00"/>
              </a:solidFill>
            </a:endParaRPr>
          </a:p>
        </p:txBody>
      </p:sp>
      <p:sp>
        <p:nvSpPr>
          <p:cNvPr id="48132" name="BainBulletsConfiguration" hidden="1">
            <a:extLst>
              <a:ext uri="{FF2B5EF4-FFF2-40B4-BE49-F238E27FC236}">
                <a16:creationId xmlns:a16="http://schemas.microsoft.com/office/drawing/2014/main" id="{4B0E3CD1-5776-405E-B31C-162BD07194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7815" y="784253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aphicFrame>
        <p:nvGraphicFramePr>
          <p:cNvPr id="12" name="Group 105">
            <a:extLst>
              <a:ext uri="{FF2B5EF4-FFF2-40B4-BE49-F238E27FC236}">
                <a16:creationId xmlns:a16="http://schemas.microsoft.com/office/drawing/2014/main" id="{F03B2C18-7777-4DB3-A045-04C116B01FAC}"/>
              </a:ext>
            </a:extLst>
          </p:cNvPr>
          <p:cNvGraphicFramePr>
            <a:graphicFrameLocks noGrp="1"/>
          </p:cNvGraphicFramePr>
          <p:nvPr/>
        </p:nvGraphicFramePr>
        <p:xfrm>
          <a:off x="802005" y="1733958"/>
          <a:ext cx="9254597" cy="4545927"/>
        </p:xfrm>
        <a:graphic>
          <a:graphicData uri="http://schemas.openxmlformats.org/drawingml/2006/table">
            <a:tbl>
              <a:tblPr/>
              <a:tblGrid>
                <a:gridCol w="37749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796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830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CAL OVERVIEW</a:t>
                      </a:r>
                    </a:p>
                  </a:txBody>
                  <a:tcPr marL="80208" marR="80208" marT="40092" marB="40092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9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ase of implementation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/3 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3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chine application exclusion?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day: PM and TM are not part of the perimeter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3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ndatory option needed? 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66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argeted sub-assembly 	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form and bottle ejection at transfer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580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agnostic visit and/or equipment refurbishment needed before upgrade? 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275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ime to install upgrade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</a:t>
                      </a:r>
                      <a:r>
                        <a:rPr kumimoji="0" lang="fr-FR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ay</a:t>
                      </a: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one FSE </a:t>
                      </a:r>
                      <a:r>
                        <a:rPr kumimoji="0" lang="fr-FR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chanic</a:t>
                      </a: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66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del expertise needed?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yes</a:t>
                      </a: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01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verage delivery time</a:t>
                      </a:r>
                    </a:p>
                  </a:txBody>
                  <a:tcPr marL="80208" marR="80208" marT="40092" marB="40092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bd</a:t>
                      </a: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208" marR="80208" marT="40092" marB="4009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68669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Sidel1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59" y="0"/>
            <a:ext cx="10081683" cy="70437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308" y="369133"/>
            <a:ext cx="8811550" cy="509007"/>
          </a:xfrm>
        </p:spPr>
        <p:txBody>
          <a:bodyPr/>
          <a:lstStyle/>
          <a:p>
            <a:r>
              <a:rPr lang="en-GB" dirty="0"/>
              <a:t>All market segments, always first served!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2038160" y="1605896"/>
            <a:ext cx="2968319" cy="103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3000" b="1" noProof="1">
                <a:solidFill>
                  <a:srgbClr val="E64B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E64B00"/>
                </a:solidFill>
                <a:latin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E64B00"/>
                </a:solidFill>
                <a:latin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E64B00"/>
                </a:solidFill>
                <a:latin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E64B00"/>
                </a:solidFill>
                <a:latin typeface="Arial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  <a:extLst/>
          </a:lstStyle>
          <a:p>
            <a:pPr defTabSz="1008126" eaLnBrk="1" hangingPunct="1"/>
            <a:r>
              <a:rPr lang="en-GB" sz="1874" dirty="0">
                <a:solidFill>
                  <a:srgbClr val="003382"/>
                </a:solidFill>
                <a:latin typeface="Arial"/>
              </a:rPr>
              <a:t>The right services for all beverage categori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35217" y="1559027"/>
            <a:ext cx="799450" cy="2714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r>
              <a:rPr lang="en-GB" sz="1764" dirty="0">
                <a:solidFill>
                  <a:srgbClr val="FFFFFF"/>
                </a:solidFill>
                <a:latin typeface="Arial"/>
              </a:rPr>
              <a:t>WAT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59949" y="2481392"/>
            <a:ext cx="2475157" cy="542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r>
              <a:rPr lang="en-GB" sz="1764" dirty="0">
                <a:solidFill>
                  <a:srgbClr val="FFFFFF"/>
                </a:solidFill>
                <a:latin typeface="Arial"/>
              </a:rPr>
              <a:t>CARBONATED SOFT DRINK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35217" y="3506625"/>
            <a:ext cx="2475157" cy="542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r>
              <a:rPr lang="en-GB" sz="1764" dirty="0">
                <a:solidFill>
                  <a:srgbClr val="FFFFFF"/>
                </a:solidFill>
                <a:latin typeface="Arial"/>
              </a:rPr>
              <a:t>LIQUID DAIRY PRODUC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2943" y="4546144"/>
            <a:ext cx="2475157" cy="8144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r>
              <a:rPr lang="en-GB" sz="1764" dirty="0">
                <a:solidFill>
                  <a:srgbClr val="FFFFFF"/>
                </a:solidFill>
                <a:latin typeface="Arial"/>
              </a:rPr>
              <a:t>JUICES, NECTARS, SOFT DRINKS, ISOTONICS AND TEA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6641" y="5599951"/>
            <a:ext cx="2475157" cy="2714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r>
              <a:rPr lang="en-GB" sz="1764" dirty="0">
                <a:solidFill>
                  <a:srgbClr val="FFFFFF"/>
                </a:solidFill>
                <a:latin typeface="Arial"/>
              </a:rPr>
              <a:t>BEER</a:t>
            </a:r>
          </a:p>
        </p:txBody>
      </p:sp>
    </p:spTree>
    <p:extLst>
      <p:ext uri="{BB962C8B-B14F-4D97-AF65-F5344CB8AC3E}">
        <p14:creationId xmlns:p14="http://schemas.microsoft.com/office/powerpoint/2010/main" val="81738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_QIH_o9UKGIGQUtQPl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K.TUWmz0Cp8MZ_pxsK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_QIH_o9UKGIGQUtQPl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K.TUWmz0Cp8MZ_pxsK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626daeae-fdbe-421c-89c1-698ddb989d0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F4BE121F6E1B04588F1E5E9C33B4515" ma:contentTypeVersion="12" ma:contentTypeDescription="Creare un nuovo documento." ma:contentTypeScope="" ma:versionID="07c6c652cd4ade8bfb7cffcb86b672da">
  <xsd:schema xmlns:xsd="http://www.w3.org/2001/XMLSchema" xmlns:xs="http://www.w3.org/2001/XMLSchema" xmlns:p="http://schemas.microsoft.com/office/2006/metadata/properties" xmlns:ns2="626daeae-fdbe-421c-89c1-698ddb989d06" targetNamespace="http://schemas.microsoft.com/office/2006/metadata/properties" ma:root="true" ma:fieldsID="c7d9a2a10d19b3deab5ba810bab6c091" ns2:_="">
    <xsd:import namespace="626daeae-fdbe-421c-89c1-698ddb989d06"/>
    <xsd:element name="properties">
      <xsd:complexType>
        <xsd:sequence>
          <xsd:element name="documentManagement">
            <xsd:complexType>
              <xsd:all>
                <xsd:element ref="ns2:Comment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6daeae-fdbe-421c-89c1-698ddb989d06" elementFormDefault="qualified">
    <xsd:import namespace="http://schemas.microsoft.com/office/2006/documentManagement/types"/>
    <xsd:import namespace="http://schemas.microsoft.com/office/infopath/2007/PartnerControls"/>
    <xsd:element name="Comments" ma:index="2" nillable="true" ma:displayName="Comments" ma:internalName="Comments" ma:readOnly="false">
      <xsd:simpleType>
        <xsd:restriction base="dms:Note">
          <xsd:maxLength value="255"/>
        </xsd:restriction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hidden="true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hidden="true" ma:internalName="MediaServiceOCR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Tipo di contenuto"/>
        <xsd:element ref="dc:title" minOccurs="0" maxOccurs="1" ma:index="1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BE2D51-95FB-49CF-8B3C-A5ACD63ACDB9}">
  <ds:schemaRefs>
    <ds:schemaRef ds:uri="http://schemas.microsoft.com/office/2006/metadata/properties"/>
    <ds:schemaRef ds:uri="http://schemas.microsoft.com/office/infopath/2007/PartnerControls"/>
    <ds:schemaRef ds:uri="626daeae-fdbe-421c-89c1-698ddb989d06"/>
  </ds:schemaRefs>
</ds:datastoreItem>
</file>

<file path=customXml/itemProps2.xml><?xml version="1.0" encoding="utf-8"?>
<ds:datastoreItem xmlns:ds="http://schemas.openxmlformats.org/officeDocument/2006/customXml" ds:itemID="{54D6526C-3DCE-4016-A3A1-45AAE80F2C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BC888F-DE0B-4293-8F76-C64598B19F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6daeae-fdbe-421c-89c1-698ddb989d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</TotalTime>
  <Pages>1</Pages>
  <Words>324</Words>
  <Application>Microsoft Office PowerPoint</Application>
  <PresentationFormat>Custom</PresentationFormat>
  <Paragraphs>7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Arial Nova Cond</vt:lpstr>
      <vt:lpstr>Book Antiqua</vt:lpstr>
      <vt:lpstr>Wingdings</vt:lpstr>
      <vt:lpstr>1_LIOMT</vt:lpstr>
      <vt:lpstr>3_Sidel Template 2013</vt:lpstr>
      <vt:lpstr>LIOMT</vt:lpstr>
      <vt:lpstr>NewSidel_Template_4x3_with add layouts</vt:lpstr>
      <vt:lpstr>think-cell Folie</vt:lpstr>
      <vt:lpstr>think-cell Slide</vt:lpstr>
      <vt:lpstr>Improving  health and safety in the workplace</vt:lpstr>
      <vt:lpstr>Service package: all you can need!</vt:lpstr>
      <vt:lpstr>Line improvement Time to increase your resource efficiency</vt:lpstr>
      <vt:lpstr>Sidel Options &amp; Upgrades Made for you and your line</vt:lpstr>
      <vt:lpstr>1052: ejection chute and basket for MM GM Universal (SBO 10-14-16-20)</vt:lpstr>
      <vt:lpstr>Ejection chute and basket for MM GM Universal (SBO 10-14-16-20): evolution</vt:lpstr>
      <vt:lpstr>Bill of material: </vt:lpstr>
      <vt:lpstr>Ejection chute and  basket for MM GM Universal</vt:lpstr>
      <vt:lpstr>All market segments, always first served!</vt:lpstr>
      <vt:lpstr>PowerPoint Presentation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Pomo, Claudio</cp:lastModifiedBy>
  <cp:revision>576</cp:revision>
  <cp:lastPrinted>2016-08-02T08:13:06Z</cp:lastPrinted>
  <dcterms:created xsi:type="dcterms:W3CDTF">2009-07-10T13:59:45Z</dcterms:created>
  <dcterms:modified xsi:type="dcterms:W3CDTF">2022-03-29T16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etDate">
    <vt:lpwstr>2022-03-18T08:09:22Z</vt:lpwstr>
  </property>
  <property fmtid="{D5CDD505-2E9C-101B-9397-08002B2CF9AE}" pid="4" name="MSIP_Label_94480757-a570-4f64-84e7-c5b3ffe9d573_Method">
    <vt:lpwstr>Privileged</vt:lpwstr>
  </property>
  <property fmtid="{D5CDD505-2E9C-101B-9397-08002B2CF9AE}" pid="5" name="MSIP_Label_94480757-a570-4f64-84e7-c5b3ffe9d573_Name">
    <vt:lpwstr>General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ActionId">
    <vt:lpwstr>24cc12fa-6bf2-451f-9756-567c3feff3fd</vt:lpwstr>
  </property>
  <property fmtid="{D5CDD505-2E9C-101B-9397-08002B2CF9AE}" pid="8" name="MSIP_Label_94480757-a570-4f64-84e7-c5b3ffe9d573_ContentBits">
    <vt:lpwstr>2</vt:lpwstr>
  </property>
  <property fmtid="{D5CDD505-2E9C-101B-9397-08002B2CF9AE}" pid="9" name="ContentTypeId">
    <vt:lpwstr>0x0101002F4BE121F6E1B04588F1E5E9C33B4515</vt:lpwstr>
  </property>
</Properties>
</file>